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7</c:f>
              <c:numCache>
                <c:formatCode>m/d/yyyy</c:formatCode>
                <c:ptCount val="26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</c:numCache>
            </c:numRef>
          </c:cat>
          <c:val>
            <c:numRef>
              <c:f>Sheet1!$D$2:$D$267</c:f>
              <c:numCache>
                <c:formatCode>#,##0</c:formatCode>
                <c:ptCount val="266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0</c:v>
                </c:pt>
                <c:pt idx="98">
                  <c:v>286</c:v>
                </c:pt>
                <c:pt idx="99">
                  <c:v>278</c:v>
                </c:pt>
                <c:pt idx="100">
                  <c:v>297</c:v>
                </c:pt>
                <c:pt idx="101">
                  <c:v>307</c:v>
                </c:pt>
                <c:pt idx="102">
                  <c:v>303</c:v>
                </c:pt>
                <c:pt idx="103">
                  <c:v>301</c:v>
                </c:pt>
                <c:pt idx="104">
                  <c:v>311</c:v>
                </c:pt>
                <c:pt idx="105">
                  <c:v>307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6</c:v>
                </c:pt>
                <c:pt idx="193">
                  <c:v>910</c:v>
                </c:pt>
                <c:pt idx="194">
                  <c:v>936</c:v>
                </c:pt>
                <c:pt idx="195">
                  <c:v>941</c:v>
                </c:pt>
                <c:pt idx="196">
                  <c:v>927</c:v>
                </c:pt>
                <c:pt idx="197">
                  <c:v>925</c:v>
                </c:pt>
                <c:pt idx="198">
                  <c:v>951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2</c:v>
                </c:pt>
                <c:pt idx="203">
                  <c:v>931</c:v>
                </c:pt>
                <c:pt idx="204">
                  <c:v>923</c:v>
                </c:pt>
                <c:pt idx="207">
                  <c:v>876</c:v>
                </c:pt>
                <c:pt idx="208">
                  <c:v>861</c:v>
                </c:pt>
                <c:pt idx="209">
                  <c:v>865</c:v>
                </c:pt>
                <c:pt idx="210">
                  <c:v>838</c:v>
                </c:pt>
                <c:pt idx="211">
                  <c:v>811</c:v>
                </c:pt>
                <c:pt idx="212">
                  <c:v>787</c:v>
                </c:pt>
                <c:pt idx="213">
                  <c:v>760</c:v>
                </c:pt>
                <c:pt idx="214">
                  <c:v>723</c:v>
                </c:pt>
                <c:pt idx="215">
                  <c:v>712</c:v>
                </c:pt>
                <c:pt idx="216">
                  <c:v>707</c:v>
                </c:pt>
                <c:pt idx="217">
                  <c:v>728</c:v>
                </c:pt>
                <c:pt idx="218">
                  <c:v>702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5</c:v>
                </c:pt>
                <c:pt idx="228">
                  <c:v>487</c:v>
                </c:pt>
                <c:pt idx="229">
                  <c:v>492</c:v>
                </c:pt>
                <c:pt idx="230">
                  <c:v>489</c:v>
                </c:pt>
                <c:pt idx="231">
                  <c:v>472</c:v>
                </c:pt>
                <c:pt idx="232">
                  <c:v>460</c:v>
                </c:pt>
                <c:pt idx="233">
                  <c:v>414</c:v>
                </c:pt>
                <c:pt idx="234">
                  <c:v>399</c:v>
                </c:pt>
                <c:pt idx="235">
                  <c:v>375</c:v>
                </c:pt>
                <c:pt idx="236">
                  <c:v>369</c:v>
                </c:pt>
                <c:pt idx="237">
                  <c:v>359</c:v>
                </c:pt>
                <c:pt idx="238">
                  <c:v>357</c:v>
                </c:pt>
                <c:pt idx="239">
                  <c:v>331</c:v>
                </c:pt>
                <c:pt idx="240">
                  <c:v>300</c:v>
                </c:pt>
                <c:pt idx="241">
                  <c:v>276</c:v>
                </c:pt>
                <c:pt idx="242">
                  <c:v>260</c:v>
                </c:pt>
                <c:pt idx="243">
                  <c:v>266</c:v>
                </c:pt>
                <c:pt idx="244">
                  <c:v>263</c:v>
                </c:pt>
                <c:pt idx="245">
                  <c:v>249</c:v>
                </c:pt>
                <c:pt idx="246">
                  <c:v>231</c:v>
                </c:pt>
                <c:pt idx="247">
                  <c:v>218</c:v>
                </c:pt>
                <c:pt idx="248">
                  <c:v>201</c:v>
                </c:pt>
                <c:pt idx="249">
                  <c:v>185</c:v>
                </c:pt>
                <c:pt idx="250">
                  <c:v>183</c:v>
                </c:pt>
                <c:pt idx="251">
                  <c:v>185</c:v>
                </c:pt>
                <c:pt idx="252">
                  <c:v>163</c:v>
                </c:pt>
                <c:pt idx="253">
                  <c:v>153</c:v>
                </c:pt>
                <c:pt idx="254">
                  <c:v>152</c:v>
                </c:pt>
                <c:pt idx="255">
                  <c:v>138</c:v>
                </c:pt>
                <c:pt idx="256">
                  <c:v>122</c:v>
                </c:pt>
                <c:pt idx="257">
                  <c:v>122</c:v>
                </c:pt>
                <c:pt idx="258">
                  <c:v>113</c:v>
                </c:pt>
                <c:pt idx="259">
                  <c:v>109</c:v>
                </c:pt>
                <c:pt idx="260">
                  <c:v>101</c:v>
                </c:pt>
                <c:pt idx="261">
                  <c:v>92</c:v>
                </c:pt>
                <c:pt idx="262">
                  <c:v>74</c:v>
                </c:pt>
                <c:pt idx="263">
                  <c:v>68</c:v>
                </c:pt>
                <c:pt idx="264">
                  <c:v>65</c:v>
                </c:pt>
                <c:pt idx="265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6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197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7</c:f>
              <c:numCache>
                <c:formatCode>m/d/yyyy</c:formatCode>
                <c:ptCount val="26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</c:numCache>
            </c:numRef>
          </c:cat>
          <c:val>
            <c:numRef>
              <c:f>Sheet1!$B$2:$B$267</c:f>
              <c:numCache>
                <c:formatCode>#,##0</c:formatCode>
                <c:ptCount val="266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  <c:pt idx="262">
                  <c:v>693</c:v>
                </c:pt>
                <c:pt idx="263">
                  <c:v>695</c:v>
                </c:pt>
                <c:pt idx="264">
                  <c:v>696</c:v>
                </c:pt>
                <c:pt idx="265">
                  <c:v>6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7</c:f>
              <c:numCache>
                <c:formatCode>m/d/yyyy</c:formatCode>
                <c:ptCount val="26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</c:numCache>
            </c:numRef>
          </c:cat>
          <c:val>
            <c:numRef>
              <c:f>Sheet1!$C$2:$C$267</c:f>
              <c:numCache>
                <c:formatCode>#,##0</c:formatCode>
                <c:ptCount val="26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7</c:f>
              <c:numCache>
                <c:formatCode>m/d/yyyy</c:formatCode>
                <c:ptCount val="26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</c:numCache>
            </c:numRef>
          </c:cat>
          <c:val>
            <c:numRef>
              <c:f>Sheet1!$D$2:$D$267</c:f>
              <c:numCache>
                <c:formatCode>#,##0</c:formatCode>
                <c:ptCount val="266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89</c:v>
                </c:pt>
                <c:pt idx="70">
                  <c:v>3194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4</c:v>
                </c:pt>
                <c:pt idx="78">
                  <c:v>2441</c:v>
                </c:pt>
                <c:pt idx="79">
                  <c:v>2362</c:v>
                </c:pt>
                <c:pt idx="80">
                  <c:v>2266</c:v>
                </c:pt>
                <c:pt idx="81">
                  <c:v>2144</c:v>
                </c:pt>
                <c:pt idx="82">
                  <c:v>2129</c:v>
                </c:pt>
                <c:pt idx="83">
                  <c:v>2157</c:v>
                </c:pt>
                <c:pt idx="84">
                  <c:v>2095</c:v>
                </c:pt>
                <c:pt idx="85">
                  <c:v>2021</c:v>
                </c:pt>
                <c:pt idx="86">
                  <c:v>1931</c:v>
                </c:pt>
                <c:pt idx="87">
                  <c:v>1807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4</c:v>
                </c:pt>
                <c:pt idx="142">
                  <c:v>2589</c:v>
                </c:pt>
                <c:pt idx="143">
                  <c:v>2554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1</c:v>
                </c:pt>
                <c:pt idx="161">
                  <c:v>2488</c:v>
                </c:pt>
                <c:pt idx="162">
                  <c:v>2419</c:v>
                </c:pt>
                <c:pt idx="163">
                  <c:v>2452</c:v>
                </c:pt>
                <c:pt idx="164">
                  <c:v>2404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7</c:v>
                </c:pt>
                <c:pt idx="173">
                  <c:v>2807</c:v>
                </c:pt>
                <c:pt idx="174">
                  <c:v>2999</c:v>
                </c:pt>
                <c:pt idx="175">
                  <c:v>3016</c:v>
                </c:pt>
                <c:pt idx="176">
                  <c:v>3027</c:v>
                </c:pt>
                <c:pt idx="177">
                  <c:v>3038</c:v>
                </c:pt>
                <c:pt idx="178">
                  <c:v>3124</c:v>
                </c:pt>
                <c:pt idx="179">
                  <c:v>3230</c:v>
                </c:pt>
                <c:pt idx="180">
                  <c:v>3368</c:v>
                </c:pt>
                <c:pt idx="181">
                  <c:v>3573</c:v>
                </c:pt>
                <c:pt idx="182">
                  <c:v>3617</c:v>
                </c:pt>
                <c:pt idx="183">
                  <c:v>3593</c:v>
                </c:pt>
                <c:pt idx="184">
                  <c:v>3676</c:v>
                </c:pt>
                <c:pt idx="185">
                  <c:v>3705</c:v>
                </c:pt>
                <c:pt idx="186">
                  <c:v>3783</c:v>
                </c:pt>
                <c:pt idx="187">
                  <c:v>3872</c:v>
                </c:pt>
                <c:pt idx="188">
                  <c:v>3923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8</c:v>
                </c:pt>
                <c:pt idx="193">
                  <c:v>3970</c:v>
                </c:pt>
                <c:pt idx="194">
                  <c:v>4039</c:v>
                </c:pt>
                <c:pt idx="195">
                  <c:v>4184</c:v>
                </c:pt>
                <c:pt idx="196">
                  <c:v>4102</c:v>
                </c:pt>
                <c:pt idx="197">
                  <c:v>4022</c:v>
                </c:pt>
                <c:pt idx="198">
                  <c:v>3994</c:v>
                </c:pt>
                <c:pt idx="199">
                  <c:v>3791</c:v>
                </c:pt>
                <c:pt idx="200">
                  <c:v>3717</c:v>
                </c:pt>
                <c:pt idx="201">
                  <c:v>3794</c:v>
                </c:pt>
                <c:pt idx="202">
                  <c:v>3810</c:v>
                </c:pt>
                <c:pt idx="203">
                  <c:v>3680</c:v>
                </c:pt>
                <c:pt idx="204">
                  <c:v>3536</c:v>
                </c:pt>
                <c:pt idx="207">
                  <c:v>3354</c:v>
                </c:pt>
                <c:pt idx="208">
                  <c:v>3383</c:v>
                </c:pt>
                <c:pt idx="209">
                  <c:v>3356</c:v>
                </c:pt>
                <c:pt idx="210">
                  <c:v>3280</c:v>
                </c:pt>
                <c:pt idx="211">
                  <c:v>3145</c:v>
                </c:pt>
                <c:pt idx="212">
                  <c:v>2996</c:v>
                </c:pt>
                <c:pt idx="213">
                  <c:v>2811</c:v>
                </c:pt>
                <c:pt idx="214">
                  <c:v>2768</c:v>
                </c:pt>
                <c:pt idx="215">
                  <c:v>2829</c:v>
                </c:pt>
                <c:pt idx="216">
                  <c:v>2842</c:v>
                </c:pt>
                <c:pt idx="217">
                  <c:v>3040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29</c:v>
                </c:pt>
                <c:pt idx="224">
                  <c:v>2233</c:v>
                </c:pt>
                <c:pt idx="225">
                  <c:v>2103</c:v>
                </c:pt>
                <c:pt idx="226">
                  <c:v>1926</c:v>
                </c:pt>
                <c:pt idx="227">
                  <c:v>1779</c:v>
                </c:pt>
                <c:pt idx="228">
                  <c:v>1745</c:v>
                </c:pt>
                <c:pt idx="229">
                  <c:v>1752</c:v>
                </c:pt>
                <c:pt idx="230">
                  <c:v>1807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1</c:v>
                </c:pt>
                <c:pt idx="235">
                  <c:v>1352</c:v>
                </c:pt>
                <c:pt idx="236">
                  <c:v>1348</c:v>
                </c:pt>
                <c:pt idx="237">
                  <c:v>1294</c:v>
                </c:pt>
                <c:pt idx="238">
                  <c:v>1271</c:v>
                </c:pt>
                <c:pt idx="239">
                  <c:v>1230</c:v>
                </c:pt>
                <c:pt idx="240">
                  <c:v>1173</c:v>
                </c:pt>
                <c:pt idx="241">
                  <c:v>1126</c:v>
                </c:pt>
                <c:pt idx="242">
                  <c:v>1132</c:v>
                </c:pt>
                <c:pt idx="243">
                  <c:v>1125</c:v>
                </c:pt>
                <c:pt idx="244">
                  <c:v>1119</c:v>
                </c:pt>
                <c:pt idx="245">
                  <c:v>1051</c:v>
                </c:pt>
                <c:pt idx="246">
                  <c:v>988</c:v>
                </c:pt>
                <c:pt idx="247">
                  <c:v>915</c:v>
                </c:pt>
                <c:pt idx="248">
                  <c:v>850</c:v>
                </c:pt>
                <c:pt idx="249">
                  <c:v>807</c:v>
                </c:pt>
                <c:pt idx="250">
                  <c:v>808</c:v>
                </c:pt>
                <c:pt idx="251">
                  <c:v>771</c:v>
                </c:pt>
                <c:pt idx="252">
                  <c:v>723</c:v>
                </c:pt>
                <c:pt idx="253">
                  <c:v>653</c:v>
                </c:pt>
                <c:pt idx="254">
                  <c:v>634</c:v>
                </c:pt>
                <c:pt idx="255">
                  <c:v>612</c:v>
                </c:pt>
                <c:pt idx="256">
                  <c:v>550</c:v>
                </c:pt>
                <c:pt idx="257">
                  <c:v>548</c:v>
                </c:pt>
                <c:pt idx="258">
                  <c:v>519</c:v>
                </c:pt>
                <c:pt idx="259">
                  <c:v>461</c:v>
                </c:pt>
                <c:pt idx="260">
                  <c:v>423</c:v>
                </c:pt>
                <c:pt idx="261">
                  <c:v>393</c:v>
                </c:pt>
                <c:pt idx="262">
                  <c:v>384</c:v>
                </c:pt>
                <c:pt idx="263">
                  <c:v>356</c:v>
                </c:pt>
                <c:pt idx="264">
                  <c:v>346</c:v>
                </c:pt>
                <c:pt idx="265">
                  <c:v>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65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7</c:f>
              <c:numCache>
                <c:formatCode>m/d/yyyy</c:formatCode>
                <c:ptCount val="26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</c:numCache>
            </c:numRef>
          </c:cat>
          <c:val>
            <c:numRef>
              <c:f>Sheet1!$B$2:$B$267</c:f>
              <c:numCache>
                <c:formatCode>#,##0</c:formatCode>
                <c:ptCount val="266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  <c:pt idx="262">
                  <c:v>6422</c:v>
                </c:pt>
                <c:pt idx="263">
                  <c:v>6556</c:v>
                </c:pt>
                <c:pt idx="264">
                  <c:v>6563</c:v>
                </c:pt>
                <c:pt idx="265">
                  <c:v>64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7</c:f>
              <c:numCache>
                <c:formatCode>m/d/yyyy</c:formatCode>
                <c:ptCount val="26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</c:numCache>
            </c:numRef>
          </c:cat>
          <c:val>
            <c:numRef>
              <c:f>Sheet1!$C$2:$C$267</c:f>
              <c:numCache>
                <c:formatCode>#,##0</c:formatCode>
                <c:ptCount val="26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7</c:f>
              <c:numCache>
                <c:formatCode>m/d/yyyy</c:formatCode>
                <c:ptCount val="26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</c:numCache>
            </c:numRef>
          </c:cat>
          <c:val>
            <c:numRef>
              <c:f>Sheet1!$D$2:$D$267</c:f>
              <c:numCache>
                <c:formatCode>#,##0</c:formatCode>
                <c:ptCount val="26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6</c:v>
                </c:pt>
                <c:pt idx="261">
                  <c:v>5</c:v>
                </c:pt>
                <c:pt idx="262">
                  <c:v>4</c:v>
                </c:pt>
                <c:pt idx="263">
                  <c:v>3</c:v>
                </c:pt>
                <c:pt idx="264">
                  <c:v>3</c:v>
                </c:pt>
                <c:pt idx="26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6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7</c:f>
              <c:numCache>
                <c:formatCode>m/d/yyyy</c:formatCode>
                <c:ptCount val="26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</c:numCache>
            </c:numRef>
          </c:cat>
          <c:val>
            <c:numRef>
              <c:f>Sheet1!$B$2:$B$267</c:f>
              <c:numCache>
                <c:formatCode>#,##0</c:formatCode>
                <c:ptCount val="266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  <c:pt idx="262">
                  <c:v>59</c:v>
                </c:pt>
                <c:pt idx="263">
                  <c:v>58</c:v>
                </c:pt>
                <c:pt idx="264">
                  <c:v>58</c:v>
                </c:pt>
                <c:pt idx="265">
                  <c:v>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7</c:f>
              <c:numCache>
                <c:formatCode>m/d/yyyy</c:formatCode>
                <c:ptCount val="26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</c:numCache>
            </c:numRef>
          </c:cat>
          <c:val>
            <c:numRef>
              <c:f>Sheet1!$C$2:$C$267</c:f>
              <c:numCache>
                <c:formatCode>#,##0</c:formatCode>
                <c:ptCount val="26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7</c:f>
              <c:numCache>
                <c:formatCode>m/d/yyyy</c:formatCode>
                <c:ptCount val="26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</c:numCache>
            </c:numRef>
          </c:cat>
          <c:val>
            <c:numRef>
              <c:f>Sheet1!$D$2:$D$267</c:f>
              <c:numCache>
                <c:formatCode>#,##0</c:formatCode>
                <c:ptCount val="266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4</c:v>
                </c:pt>
                <c:pt idx="68">
                  <c:v>1165</c:v>
                </c:pt>
                <c:pt idx="69">
                  <c:v>1179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099</c:v>
                </c:pt>
                <c:pt idx="74">
                  <c:v>1067</c:v>
                </c:pt>
                <c:pt idx="75">
                  <c:v>1042</c:v>
                </c:pt>
                <c:pt idx="76">
                  <c:v>1036</c:v>
                </c:pt>
                <c:pt idx="77">
                  <c:v>992</c:v>
                </c:pt>
                <c:pt idx="78">
                  <c:v>1002</c:v>
                </c:pt>
                <c:pt idx="79">
                  <c:v>971</c:v>
                </c:pt>
                <c:pt idx="80">
                  <c:v>957</c:v>
                </c:pt>
                <c:pt idx="81">
                  <c:v>942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5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09</c:v>
                </c:pt>
                <c:pt idx="98">
                  <c:v>697</c:v>
                </c:pt>
                <c:pt idx="99">
                  <c:v>683</c:v>
                </c:pt>
                <c:pt idx="100">
                  <c:v>708</c:v>
                </c:pt>
                <c:pt idx="101">
                  <c:v>696</c:v>
                </c:pt>
                <c:pt idx="102">
                  <c:v>692</c:v>
                </c:pt>
                <c:pt idx="103">
                  <c:v>706</c:v>
                </c:pt>
                <c:pt idx="104">
                  <c:v>724</c:v>
                </c:pt>
                <c:pt idx="105">
                  <c:v>721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6</c:v>
                </c:pt>
                <c:pt idx="171">
                  <c:v>1269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8</c:v>
                </c:pt>
                <c:pt idx="193">
                  <c:v>1779</c:v>
                </c:pt>
                <c:pt idx="194">
                  <c:v>1825</c:v>
                </c:pt>
                <c:pt idx="195">
                  <c:v>1883</c:v>
                </c:pt>
                <c:pt idx="196">
                  <c:v>1892</c:v>
                </c:pt>
                <c:pt idx="197">
                  <c:v>1859</c:v>
                </c:pt>
                <c:pt idx="198">
                  <c:v>1858</c:v>
                </c:pt>
                <c:pt idx="199">
                  <c:v>1817</c:v>
                </c:pt>
                <c:pt idx="200">
                  <c:v>1778</c:v>
                </c:pt>
                <c:pt idx="201">
                  <c:v>1802</c:v>
                </c:pt>
                <c:pt idx="202">
                  <c:v>1822</c:v>
                </c:pt>
                <c:pt idx="203">
                  <c:v>1775</c:v>
                </c:pt>
                <c:pt idx="204">
                  <c:v>1743</c:v>
                </c:pt>
                <c:pt idx="207">
                  <c:v>1641</c:v>
                </c:pt>
                <c:pt idx="208">
                  <c:v>1651</c:v>
                </c:pt>
                <c:pt idx="209">
                  <c:v>1661</c:v>
                </c:pt>
                <c:pt idx="210">
                  <c:v>1612</c:v>
                </c:pt>
                <c:pt idx="211">
                  <c:v>1552</c:v>
                </c:pt>
                <c:pt idx="212">
                  <c:v>1503</c:v>
                </c:pt>
                <c:pt idx="213">
                  <c:v>1422</c:v>
                </c:pt>
                <c:pt idx="214">
                  <c:v>1399</c:v>
                </c:pt>
                <c:pt idx="215">
                  <c:v>1378</c:v>
                </c:pt>
                <c:pt idx="216">
                  <c:v>1343</c:v>
                </c:pt>
                <c:pt idx="217">
                  <c:v>1393</c:v>
                </c:pt>
                <c:pt idx="218">
                  <c:v>1359</c:v>
                </c:pt>
                <c:pt idx="219">
                  <c:v>1313</c:v>
                </c:pt>
                <c:pt idx="220">
                  <c:v>1233</c:v>
                </c:pt>
                <c:pt idx="221">
                  <c:v>1214</c:v>
                </c:pt>
                <c:pt idx="222">
                  <c:v>1196</c:v>
                </c:pt>
                <c:pt idx="223">
                  <c:v>1183</c:v>
                </c:pt>
                <c:pt idx="224">
                  <c:v>1155</c:v>
                </c:pt>
                <c:pt idx="225">
                  <c:v>1111</c:v>
                </c:pt>
                <c:pt idx="226">
                  <c:v>1034</c:v>
                </c:pt>
                <c:pt idx="227">
                  <c:v>1011</c:v>
                </c:pt>
                <c:pt idx="228">
                  <c:v>971</c:v>
                </c:pt>
                <c:pt idx="229">
                  <c:v>973</c:v>
                </c:pt>
                <c:pt idx="230">
                  <c:v>992</c:v>
                </c:pt>
                <c:pt idx="231">
                  <c:v>940</c:v>
                </c:pt>
                <c:pt idx="232">
                  <c:v>905</c:v>
                </c:pt>
                <c:pt idx="233">
                  <c:v>830</c:v>
                </c:pt>
                <c:pt idx="234">
                  <c:v>785</c:v>
                </c:pt>
                <c:pt idx="235">
                  <c:v>749</c:v>
                </c:pt>
                <c:pt idx="236">
                  <c:v>757</c:v>
                </c:pt>
                <c:pt idx="237">
                  <c:v>735</c:v>
                </c:pt>
                <c:pt idx="238">
                  <c:v>710</c:v>
                </c:pt>
                <c:pt idx="239">
                  <c:v>683</c:v>
                </c:pt>
                <c:pt idx="240">
                  <c:v>634</c:v>
                </c:pt>
                <c:pt idx="241">
                  <c:v>576</c:v>
                </c:pt>
                <c:pt idx="242">
                  <c:v>552</c:v>
                </c:pt>
                <c:pt idx="243">
                  <c:v>558</c:v>
                </c:pt>
                <c:pt idx="244">
                  <c:v>564</c:v>
                </c:pt>
                <c:pt idx="245">
                  <c:v>543</c:v>
                </c:pt>
                <c:pt idx="246">
                  <c:v>500</c:v>
                </c:pt>
                <c:pt idx="247">
                  <c:v>464</c:v>
                </c:pt>
                <c:pt idx="248">
                  <c:v>442</c:v>
                </c:pt>
                <c:pt idx="249">
                  <c:v>414</c:v>
                </c:pt>
                <c:pt idx="250">
                  <c:v>420</c:v>
                </c:pt>
                <c:pt idx="251">
                  <c:v>425</c:v>
                </c:pt>
                <c:pt idx="252">
                  <c:v>401</c:v>
                </c:pt>
                <c:pt idx="253">
                  <c:v>376</c:v>
                </c:pt>
                <c:pt idx="254">
                  <c:v>366</c:v>
                </c:pt>
                <c:pt idx="255">
                  <c:v>339</c:v>
                </c:pt>
                <c:pt idx="256">
                  <c:v>306</c:v>
                </c:pt>
                <c:pt idx="257">
                  <c:v>301</c:v>
                </c:pt>
                <c:pt idx="258">
                  <c:v>292</c:v>
                </c:pt>
                <c:pt idx="259">
                  <c:v>273</c:v>
                </c:pt>
                <c:pt idx="260">
                  <c:v>244</c:v>
                </c:pt>
                <c:pt idx="261">
                  <c:v>214</c:v>
                </c:pt>
                <c:pt idx="262">
                  <c:v>181</c:v>
                </c:pt>
                <c:pt idx="263">
                  <c:v>178</c:v>
                </c:pt>
                <c:pt idx="264">
                  <c:v>177</c:v>
                </c:pt>
                <c:pt idx="265">
                  <c:v>1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26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E05-48C0-A349-33FBCDEB04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7</c:f>
              <c:numCache>
                <c:formatCode>m/d/yyyy</c:formatCode>
                <c:ptCount val="26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</c:numCache>
            </c:numRef>
          </c:cat>
          <c:val>
            <c:numRef>
              <c:f>Sheet1!$B$2:$B$267</c:f>
              <c:numCache>
                <c:formatCode>#,##0</c:formatCode>
                <c:ptCount val="266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  <c:pt idx="262">
                  <c:v>1646</c:v>
                </c:pt>
                <c:pt idx="263">
                  <c:v>1648</c:v>
                </c:pt>
                <c:pt idx="264">
                  <c:v>1652</c:v>
                </c:pt>
                <c:pt idx="265">
                  <c:v>16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7</c:f>
              <c:numCache>
                <c:formatCode>m/d/yyyy</c:formatCode>
                <c:ptCount val="26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</c:numCache>
            </c:numRef>
          </c:cat>
          <c:val>
            <c:numRef>
              <c:f>Sheet1!$C$2:$C$267</c:f>
              <c:numCache>
                <c:formatCode>#,##0</c:formatCode>
                <c:ptCount val="26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5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16838377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51388355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68601483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0151940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6373318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1081419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28</TotalTime>
  <Words>1037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681</cp:revision>
  <dcterms:created xsi:type="dcterms:W3CDTF">2020-08-08T14:25:07Z</dcterms:created>
  <dcterms:modified xsi:type="dcterms:W3CDTF">2021-05-25T03:13:40Z</dcterms:modified>
</cp:coreProperties>
</file>